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5"/>
    <p:sldMasterId id="2147483690" r:id="rId6"/>
  </p:sldMasterIdLst>
  <p:notesMasterIdLst>
    <p:notesMasterId r:id="rId9"/>
  </p:notesMasterIdLst>
  <p:handoutMasterIdLst>
    <p:handoutMasterId r:id="rId10"/>
  </p:handoutMasterIdLst>
  <p:sldIdLst>
    <p:sldId id="386" r:id="rId7"/>
    <p:sldId id="363" r:id="rId8"/>
  </p:sldIdLst>
  <p:sldSz cx="12192000" cy="6858000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B"/>
    <a:srgbClr val="E9E9E9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106" d="100"/>
          <a:sy n="106" d="100"/>
        </p:scale>
        <p:origin x="522" y="10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414282F1-693A-20DE-3311-3EFA3170374A}"/>
    <pc:docChg chg="modSld">
      <pc:chgData name="Christodoulou, Konstantinos" userId="S::kchristodoulou@internal.colt.net::81c234c6-6624-4c83-aac0-9aea992cfbe7" providerId="AD" clId="Web-{414282F1-693A-20DE-3311-3EFA3170374A}" dt="2018-11-06T11:51:09.793" v="43"/>
      <pc:docMkLst>
        <pc:docMk/>
      </pc:docMkLst>
      <pc:sldChg chg="modSp">
        <pc:chgData name="Christodoulou, Konstantinos" userId="S::kchristodoulou@internal.colt.net::81c234c6-6624-4c83-aac0-9aea992cfbe7" providerId="AD" clId="Web-{414282F1-693A-20DE-3311-3EFA3170374A}" dt="2018-11-06T11:51:09.793" v="4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414282F1-693A-20DE-3311-3EFA3170374A}" dt="2018-11-06T11:51:09.793" v="4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F38A8DFF-F6D2-B7F5-FF4B-BB120D2A5CCD}"/>
    <pc:docChg chg="modSld">
      <pc:chgData name="Christodoulou, Konstantinos" userId="S::kchristodoulou@internal.colt.net::81c234c6-6624-4c83-aac0-9aea992cfbe7" providerId="AD" clId="Web-{F38A8DFF-F6D2-B7F5-FF4B-BB120D2A5CCD}" dt="2019-02-05T09:57:08.408" v="11"/>
      <pc:docMkLst>
        <pc:docMk/>
      </pc:docMkLst>
      <pc:sldChg chg="modSp">
        <pc:chgData name="Christodoulou, Konstantinos" userId="S::kchristodoulou@internal.colt.net::81c234c6-6624-4c83-aac0-9aea992cfbe7" providerId="AD" clId="Web-{F38A8DFF-F6D2-B7F5-FF4B-BB120D2A5CCD}" dt="2019-02-05T09:57:08.408" v="1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F38A8DFF-F6D2-B7F5-FF4B-BB120D2A5CCD}" dt="2019-02-05T09:57:08.408" v="1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49276D08-9E90-DCCD-50BC-C8AF70186E9B}"/>
    <pc:docChg chg="modSld">
      <pc:chgData name="Christodoulou, Konstantinos" userId="S::kchristodoulou@internal.colt.net::81c234c6-6624-4c83-aac0-9aea992cfbe7" providerId="AD" clId="Web-{49276D08-9E90-DCCD-50BC-C8AF70186E9B}" dt="2019-02-05T08:50:32.891" v="49"/>
      <pc:docMkLst>
        <pc:docMk/>
      </pc:docMkLst>
      <pc:sldChg chg="modSp">
        <pc:chgData name="Christodoulou, Konstantinos" userId="S::kchristodoulou@internal.colt.net::81c234c6-6624-4c83-aac0-9aea992cfbe7" providerId="AD" clId="Web-{49276D08-9E90-DCCD-50BC-C8AF70186E9B}" dt="2019-02-05T08:50:32.891" v="49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49276D08-9E90-DCCD-50BC-C8AF70186E9B}" dt="2019-02-05T08:50:32.891" v="49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C4724390-870E-7A56-FEB2-D04BF34E9C06}"/>
    <pc:docChg chg="modSld">
      <pc:chgData name="Christodoulou, Konstantinos" userId="S::kchristodoulou@internal.colt.net::81c234c6-6624-4c83-aac0-9aea992cfbe7" providerId="AD" clId="Web-{C4724390-870E-7A56-FEB2-D04BF34E9C06}" dt="2018-10-31T15:35:19.216" v="179"/>
      <pc:docMkLst>
        <pc:docMk/>
      </pc:docMkLst>
      <pc:sldChg chg="modSp">
        <pc:chgData name="Christodoulou, Konstantinos" userId="S::kchristodoulou@internal.colt.net::81c234c6-6624-4c83-aac0-9aea992cfbe7" providerId="AD" clId="Web-{C4724390-870E-7A56-FEB2-D04BF34E9C06}" dt="2018-10-31T15:35:19.216" v="179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C4724390-870E-7A56-FEB2-D04BF34E9C06}" dt="2018-10-31T15:35:19.216" v="179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clId="Web-{05610C2A-B6B8-5AF2-DDF5-5AF1E9DAF853}"/>
    <pc:docChg chg="modSld">
      <pc:chgData name="" userId="" providerId="" clId="Web-{05610C2A-B6B8-5AF2-DDF5-5AF1E9DAF853}" dt="2019-02-05T09:58:25.965" v="1"/>
      <pc:docMkLst>
        <pc:docMk/>
      </pc:docMkLst>
      <pc:sldChg chg="modSp">
        <pc:chgData name="" userId="" providerId="" clId="Web-{05610C2A-B6B8-5AF2-DDF5-5AF1E9DAF853}" dt="2019-02-05T09:58:25.965" v="1"/>
        <pc:sldMkLst>
          <pc:docMk/>
          <pc:sldMk cId="214108182" sldId="386"/>
        </pc:sldMkLst>
        <pc:graphicFrameChg chg="mod modGraphic">
          <ac:chgData name="" userId="" providerId="" clId="Web-{05610C2A-B6B8-5AF2-DDF5-5AF1E9DAF853}" dt="2019-02-05T09:58:25.965" v="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6B174D29-136C-D0A9-DAA4-96FB1E810BFB}"/>
    <pc:docChg chg="modSld">
      <pc:chgData name="Christodoulou, Konstantinos" userId="S::kchristodoulou@internal.colt.net::81c234c6-6624-4c83-aac0-9aea992cfbe7" providerId="AD" clId="Web-{6B174D29-136C-D0A9-DAA4-96FB1E810BFB}" dt="2019-02-05T09:13:04.315" v="7" actId="1076"/>
      <pc:docMkLst>
        <pc:docMk/>
      </pc:docMkLst>
      <pc:sldChg chg="modSp">
        <pc:chgData name="Christodoulou, Konstantinos" userId="S::kchristodoulou@internal.colt.net::81c234c6-6624-4c83-aac0-9aea992cfbe7" providerId="AD" clId="Web-{6B174D29-136C-D0A9-DAA4-96FB1E810BFB}" dt="2019-02-05T09:13:04.315" v="7" actId="1076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6B174D29-136C-D0A9-DAA4-96FB1E810BFB}" dt="2019-02-05T09:12:53.345" v="5" actId="1076"/>
          <ac:graphicFrameMkLst>
            <pc:docMk/>
            <pc:sldMk cId="214108182" sldId="386"/>
            <ac:graphicFrameMk id="2" creationId="{00000000-0000-0000-0000-000000000000}"/>
          </ac:graphicFrameMkLst>
        </pc:graphicFrameChg>
        <pc:picChg chg="mod">
          <ac:chgData name="Christodoulou, Konstantinos" userId="S::kchristodoulou@internal.colt.net::81c234c6-6624-4c83-aac0-9aea992cfbe7" providerId="AD" clId="Web-{6B174D29-136C-D0A9-DAA4-96FB1E810BFB}" dt="2019-02-05T09:13:04.315" v="7" actId="1076"/>
          <ac:picMkLst>
            <pc:docMk/>
            <pc:sldMk cId="214108182" sldId="386"/>
            <ac:picMk id="22" creationId="{00000000-0000-0000-0000-000000000000}"/>
          </ac:picMkLst>
        </pc:picChg>
        <pc:picChg chg="mod">
          <ac:chgData name="Christodoulou, Konstantinos" userId="S::kchristodoulou@internal.colt.net::81c234c6-6624-4c83-aac0-9aea992cfbe7" providerId="AD" clId="Web-{6B174D29-136C-D0A9-DAA4-96FB1E810BFB}" dt="2019-02-05T09:13:00.533" v="6" actId="1076"/>
          <ac:picMkLst>
            <pc:docMk/>
            <pc:sldMk cId="214108182" sldId="386"/>
            <ac:picMk id="27" creationId="{00000000-0000-0000-0000-000000000000}"/>
          </ac:picMkLst>
        </pc:picChg>
      </pc:sldChg>
    </pc:docChg>
  </pc:docChgLst>
  <pc:docChgLst>
    <pc:chgData name="Christodoulou, Konstantinos" userId="S::kchristodoulou@internal.colt.net::81c234c6-6624-4c83-aac0-9aea992cfbe7" providerId="AD" clId="Web-{88D513E5-1AFE-44E1-A7ED-A7CF1E1A7A03}"/>
    <pc:docChg chg="modSld">
      <pc:chgData name="Christodoulou, Konstantinos" userId="S::kchristodoulou@internal.colt.net::81c234c6-6624-4c83-aac0-9aea992cfbe7" providerId="AD" clId="Web-{88D513E5-1AFE-44E1-A7ED-A7CF1E1A7A03}" dt="2019-02-04T17:03:26.119" v="9"/>
      <pc:docMkLst>
        <pc:docMk/>
      </pc:docMkLst>
      <pc:sldChg chg="modSp">
        <pc:chgData name="Christodoulou, Konstantinos" userId="S::kchristodoulou@internal.colt.net::81c234c6-6624-4c83-aac0-9aea992cfbe7" providerId="AD" clId="Web-{88D513E5-1AFE-44E1-A7ED-A7CF1E1A7A03}" dt="2019-02-04T17:03:26.119" v="9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88D513E5-1AFE-44E1-A7ED-A7CF1E1A7A03}" dt="2019-02-04T17:03:26.119" v="9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4F825792-0BB7-F0C9-8775-C97E74337151}"/>
    <pc:docChg chg="modSld">
      <pc:chgData name="Christodoulou, Konstantinos" userId="S::kchristodoulou@internal.colt.net::81c234c6-6624-4c83-aac0-9aea992cfbe7" providerId="AD" clId="Web-{4F825792-0BB7-F0C9-8775-C97E74337151}" dt="2018-11-05T16:38:16.019" v="0" actId="1076"/>
      <pc:docMkLst>
        <pc:docMk/>
      </pc:docMkLst>
      <pc:sldChg chg="modSp">
        <pc:chgData name="Christodoulou, Konstantinos" userId="S::kchristodoulou@internal.colt.net::81c234c6-6624-4c83-aac0-9aea992cfbe7" providerId="AD" clId="Web-{4F825792-0BB7-F0C9-8775-C97E74337151}" dt="2018-11-05T16:38:16.019" v="0" actId="1076"/>
        <pc:sldMkLst>
          <pc:docMk/>
          <pc:sldMk cId="214108182" sldId="386"/>
        </pc:sldMkLst>
        <pc:picChg chg="mod">
          <ac:chgData name="Christodoulou, Konstantinos" userId="S::kchristodoulou@internal.colt.net::81c234c6-6624-4c83-aac0-9aea992cfbe7" providerId="AD" clId="Web-{4F825792-0BB7-F0C9-8775-C97E74337151}" dt="2018-11-05T16:38:16.019" v="0" actId="1076"/>
          <ac:picMkLst>
            <pc:docMk/>
            <pc:sldMk cId="214108182" sldId="386"/>
            <ac:picMk id="18" creationId="{00000000-0000-0000-0000-000000000000}"/>
          </ac:picMkLst>
        </pc:picChg>
      </pc:sldChg>
    </pc:docChg>
  </pc:docChgLst>
  <pc:docChgLst>
    <pc:chgData name="Christodoulou, Konstantinos" userId="S::kchristodoulou@internal.colt.net::81c234c6-6624-4c83-aac0-9aea992cfbe7" providerId="AD" clId="Web-{2DDB0302-C9A6-9393-1281-675295CFAD6D}"/>
    <pc:docChg chg="modSld">
      <pc:chgData name="Christodoulou, Konstantinos" userId="S::kchristodoulou@internal.colt.net::81c234c6-6624-4c83-aac0-9aea992cfbe7" providerId="AD" clId="Web-{2DDB0302-C9A6-9393-1281-675295CFAD6D}" dt="2019-02-05T08:29:38.192" v="23"/>
      <pc:docMkLst>
        <pc:docMk/>
      </pc:docMkLst>
      <pc:sldChg chg="modSp">
        <pc:chgData name="Christodoulou, Konstantinos" userId="S::kchristodoulou@internal.colt.net::81c234c6-6624-4c83-aac0-9aea992cfbe7" providerId="AD" clId="Web-{2DDB0302-C9A6-9393-1281-675295CFAD6D}" dt="2019-02-05T08:29:38.192" v="23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2DDB0302-C9A6-9393-1281-675295CFAD6D}" dt="2019-02-05T08:29:38.192" v="23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05610C2A-B6B8-5AF2-DDF5-5AF1E9DAF853}"/>
    <pc:docChg chg="modSld">
      <pc:chgData name="Christodoulou, Konstantinos" userId="S::kchristodoulou@internal.colt.net::81c234c6-6624-4c83-aac0-9aea992cfbe7" providerId="AD" clId="Web-{05610C2A-B6B8-5AF2-DDF5-5AF1E9DAF853}" dt="2019-02-05T09:58:31.090" v="1"/>
      <pc:docMkLst>
        <pc:docMk/>
      </pc:docMkLst>
      <pc:sldChg chg="modSp">
        <pc:chgData name="Christodoulou, Konstantinos" userId="S::kchristodoulou@internal.colt.net::81c234c6-6624-4c83-aac0-9aea992cfbe7" providerId="AD" clId="Web-{05610C2A-B6B8-5AF2-DDF5-5AF1E9DAF853}" dt="2019-02-05T09:58:31.090" v="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05610C2A-B6B8-5AF2-DDF5-5AF1E9DAF853}" dt="2019-02-05T09:58:31.090" v="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A482A8F4-5310-36DE-F890-11D04DA3DA1C}"/>
    <pc:docChg chg="modSld">
      <pc:chgData name="Christodoulou, Konstantinos" userId="S::kchristodoulou@internal.colt.net::81c234c6-6624-4c83-aac0-9aea992cfbe7" providerId="AD" clId="Web-{A482A8F4-5310-36DE-F890-11D04DA3DA1C}" dt="2018-11-06T11:31:18.046" v="20"/>
      <pc:docMkLst>
        <pc:docMk/>
      </pc:docMkLst>
      <pc:sldChg chg="modSp">
        <pc:chgData name="Christodoulou, Konstantinos" userId="S::kchristodoulou@internal.colt.net::81c234c6-6624-4c83-aac0-9aea992cfbe7" providerId="AD" clId="Web-{A482A8F4-5310-36DE-F890-11D04DA3DA1C}" dt="2018-11-06T11:31:18.046" v="20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A482A8F4-5310-36DE-F890-11D04DA3DA1C}" dt="2018-11-06T11:31:18.046" v="20"/>
          <ac:graphicFrameMkLst>
            <pc:docMk/>
            <pc:sldMk cId="214108182" sldId="386"/>
            <ac:graphicFrameMk id="2" creationId="{00000000-0000-0000-0000-000000000000}"/>
          </ac:graphicFrameMkLst>
        </pc:graphicFrameChg>
        <pc:picChg chg="mod">
          <ac:chgData name="Christodoulou, Konstantinos" userId="S::kchristodoulou@internal.colt.net::81c234c6-6624-4c83-aac0-9aea992cfbe7" providerId="AD" clId="Web-{A482A8F4-5310-36DE-F890-11D04DA3DA1C}" dt="2018-11-06T11:30:59.467" v="4" actId="1076"/>
          <ac:picMkLst>
            <pc:docMk/>
            <pc:sldMk cId="214108182" sldId="386"/>
            <ac:picMk id="24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9-8-2022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9-8-2022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12.jp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BEPortingDesk@colt.net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www.colt.net/porting-information/" TargetMode="External"/><Relationship Id="rId10" Type="http://schemas.openxmlformats.org/officeDocument/2006/relationships/image" Target="../media/image16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Belgium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2185425"/>
              </p:ext>
            </p:extLst>
          </p:nvPr>
        </p:nvGraphicFramePr>
        <p:xfrm>
          <a:off x="820179" y="912220"/>
          <a:ext cx="11037991" cy="6733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19395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518596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14047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115567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 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1hr slots between the times of </a:t>
                      </a:r>
                    </a:p>
                    <a:p>
                      <a:pPr>
                        <a:spcBef>
                          <a:spcPts val="600"/>
                        </a:spcBef>
                      </a:pP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 –17:00 CET (Mon-Fri) 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 Business Hours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3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00 –15:00 CET (Mon-Fri)</a:t>
                      </a:r>
                    </a:p>
                    <a:p>
                      <a:pPr lvl="0">
                        <a:buNone/>
                      </a:pPr>
                      <a:endParaRPr lang="en-GB" sz="1600" baseline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Porting Form (FR) / Porting Form (NL) &amp;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o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Contact Details of Customer's PBX Supplier</a:t>
                      </a:r>
                      <a:br>
                        <a:rPr lang="en-GB" sz="1400" kern="1200" dirty="0"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u="sng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Geo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Copy</a:t>
                      </a: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end-customer invoice, Customer contact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tails.</a:t>
                      </a:r>
                      <a:r>
                        <a:rPr lang="en-GB" sz="1400" kern="1200" baseline="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GB" sz="1400" kern="1200" dirty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48299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201783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: 15 working days (SIP Trunking &amp; Voice Line),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8 workings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: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2 working days for Non-Geo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Check Porting Matrix for more info</a:t>
                      </a:r>
                      <a:endParaRPr lang="en-GB" sz="1400" b="0" baseline="0" dirty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 </a:t>
                      </a: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endParaRPr lang="en-GB" sz="1400" b="0" i="0" u="none" strike="noStrike" baseline="0" noProof="0" dirty="0"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  <a:endParaRPr lang="en-GB" sz="1600" b="0" i="0" u="none" strike="noStrike" baseline="0" noProof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1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cs typeface="Times New Roman"/>
                        </a:rPr>
                        <a:t>Please note lead times include the current date and port date</a:t>
                      </a:r>
                      <a:endParaRPr lang="en-GB" sz="1400" b="0" i="1" u="none" strike="noStrike" baseline="0" noProof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386080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55734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2 days advance notice is appreciated  though same day cancellation is also allowed 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Before  start of  porting window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https://www.colt.net/porting-information/</a:t>
                      </a:r>
                      <a:endParaRPr lang="en-GB" sz="1400" u="sng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83177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+mn-lt"/>
                          <a:hlinkClick r:id="rId6"/>
                        </a:rPr>
                        <a:t>BEPortingDesk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hlinkClick r:id="rId6"/>
                        </a:rPr>
                        <a:t>@colt.net</a:t>
                      </a:r>
                      <a:r>
                        <a:rPr lang="en-GB" sz="1400" b="0" i="0" u="none" strike="noStrike" kern="1200" noProof="0" dirty="0">
                          <a:solidFill>
                            <a:srgbClr val="000000"/>
                          </a:solidFill>
                          <a:latin typeface="+mn-lt"/>
                          <a:hlinkClick r:id="rId6"/>
                        </a:rPr>
                        <a:t> 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Ordering</a:t>
                      </a: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ustomers)</a:t>
                      </a:r>
                      <a:endParaRPr lang="en-GB" sz="1400" u="sng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1407709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Any carrier</a:t>
                      </a:r>
                      <a:br>
                        <a:rPr lang="en-GB" sz="1400" b="0" dirty="0"/>
                      </a:b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 Refer to Porting Matrix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– Non-Geo </a:t>
                      </a:r>
                      <a:endParaRPr lang="en-GB" sz="14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                                                 Summary</a:t>
                      </a:r>
                      <a:endParaRPr lang="en-GB" sz="14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 +</a:t>
                      </a:r>
                      <a:r>
                        <a:rPr lang="en-GB" sz="1400" b="0" i="0" u="none" strike="noStrike" kern="1200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32 80050053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395" y="3388431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01" y="4445715"/>
            <a:ext cx="563179" cy="56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5591236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870" y="971112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420" y="2834659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417" y="5144682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5bdb67a-68dc-4b72-be68-a086d460c31f">DHQ4KNS6T2M2-2111369996-30</_dlc_DocId>
    <_dlc_DocIdUrl xmlns="85bdb67a-68dc-4b72-be68-a086d460c31f">
      <Url>https://coltinternal.sharepoint.com/sites/pt/PortingInformation/_layouts/15/DocIdRedir.aspx?ID=DHQ4KNS6T2M2-2111369996-30</Url>
      <Description>DHQ4KNS6T2M2-2111369996-30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778576-4E67-420A-88EC-60E82B6C0929}">
  <ds:schemaRefs>
    <ds:schemaRef ds:uri="http://purl.org/dc/elements/1.1/"/>
    <ds:schemaRef ds:uri="http://schemas.microsoft.com/office/2006/metadata/properties"/>
    <ds:schemaRef ds:uri="http://purl.org/dc/terms/"/>
    <ds:schemaRef ds:uri="f1d1c7a4-d8f1-45db-9f4e-e74acd9c8e06"/>
    <ds:schemaRef ds:uri="http://schemas.microsoft.com/office/infopath/2007/PartnerControls"/>
    <ds:schemaRef ds:uri="http://schemas.microsoft.com/office/2006/documentManagement/types"/>
    <ds:schemaRef ds:uri="85bdb67a-68dc-4b72-be68-a086d460c31f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6D535CD-2BBF-48AA-A9B6-82229C84798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033A29-BE91-401D-8090-F8775F0AA67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0B075E0-D29D-4CA8-8ED8-09B2BA2717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2</Words>
  <Application>Microsoft Office PowerPoint</Application>
  <PresentationFormat>Widescreen</PresentationFormat>
  <Paragraphs>28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Open Sans</vt:lpstr>
      <vt:lpstr>Oswald</vt:lpstr>
      <vt:lpstr>Arial</vt:lpstr>
      <vt:lpstr>Calibri</vt:lpstr>
      <vt:lpstr>Courier New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Mcdonald, Olivia</cp:lastModifiedBy>
  <cp:revision>533</cp:revision>
  <dcterms:created xsi:type="dcterms:W3CDTF">2017-08-30T16:21:34Z</dcterms:created>
  <dcterms:modified xsi:type="dcterms:W3CDTF">2022-08-29T08:0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4394DB821ADB47B1D0005AAB7277E1</vt:lpwstr>
  </property>
  <property fmtid="{D5CDD505-2E9C-101B-9397-08002B2CF9AE}" pid="3" name="_dlc_DocIdItemGuid">
    <vt:lpwstr>8a92ddec-472e-43e4-a2b1-979cb1291184</vt:lpwstr>
  </property>
</Properties>
</file>